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2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D3FDF5-29BD-D63D-D37F-0B11CAD842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FD04534-D155-F977-AD84-B833DD7A1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D04534-D155-F977-AD84-B833DD7A1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C54EB8-C431-6E1F-FB13-EB170D198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3EC595-167E-DA56-0D88-50EB1E6BB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ree infographic</a:t>
            </a:r>
          </a:p>
        </p:txBody>
      </p:sp>
      <p:sp>
        <p:nvSpPr>
          <p:cNvPr id="5" name="Freeform 16">
            <a:extLst>
              <a:ext uri="{FF2B5EF4-FFF2-40B4-BE49-F238E27FC236}">
                <a16:creationId xmlns:a16="http://schemas.microsoft.com/office/drawing/2014/main" id="{76E99FC3-5648-1F9A-42A8-42EDD1B189E5}"/>
              </a:ext>
            </a:extLst>
          </p:cNvPr>
          <p:cNvSpPr>
            <a:spLocks/>
          </p:cNvSpPr>
          <p:nvPr/>
        </p:nvSpPr>
        <p:spPr bwMode="auto">
          <a:xfrm>
            <a:off x="3684893" y="1598120"/>
            <a:ext cx="1123358" cy="674736"/>
          </a:xfrm>
          <a:custGeom>
            <a:avLst/>
            <a:gdLst>
              <a:gd name="T0" fmla="*/ 538 w 546"/>
              <a:gd name="T1" fmla="*/ 329 h 329"/>
              <a:gd name="T2" fmla="*/ 0 w 546"/>
              <a:gd name="T3" fmla="*/ 329 h 329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546" h="329">
                <a:moveTo>
                  <a:pt x="538" y="329"/>
                </a:moveTo>
                <a:cubicBezTo>
                  <a:pt x="546" y="319"/>
                  <a:pt x="269" y="0"/>
                  <a:pt x="0" y="329"/>
                </a:cubicBezTo>
              </a:path>
            </a:pathLst>
          </a:custGeom>
          <a:noFill/>
          <a:ln w="25400" cap="flat">
            <a:solidFill>
              <a:schemeClr val="accent2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17">
            <a:extLst>
              <a:ext uri="{FF2B5EF4-FFF2-40B4-BE49-F238E27FC236}">
                <a16:creationId xmlns:a16="http://schemas.microsoft.com/office/drawing/2014/main" id="{18DF3FF4-77F6-1E47-FEA8-73674DFADDD8}"/>
              </a:ext>
            </a:extLst>
          </p:cNvPr>
          <p:cNvSpPr>
            <a:spLocks/>
          </p:cNvSpPr>
          <p:nvPr/>
        </p:nvSpPr>
        <p:spPr bwMode="auto">
          <a:xfrm rot="21093162">
            <a:off x="7371867" y="2169356"/>
            <a:ext cx="754117" cy="607383"/>
          </a:xfrm>
          <a:custGeom>
            <a:avLst/>
            <a:gdLst>
              <a:gd name="T0" fmla="*/ 0 w 366"/>
              <a:gd name="T1" fmla="*/ 296 h 296"/>
              <a:gd name="T2" fmla="*/ 366 w 366"/>
              <a:gd name="T3" fmla="*/ 64 h 296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366" h="296">
                <a:moveTo>
                  <a:pt x="0" y="296"/>
                </a:moveTo>
                <a:cubicBezTo>
                  <a:pt x="0" y="296"/>
                  <a:pt x="110" y="0"/>
                  <a:pt x="366" y="64"/>
                </a:cubicBezTo>
              </a:path>
            </a:pathLst>
          </a:custGeom>
          <a:noFill/>
          <a:ln w="25400" cap="flat">
            <a:solidFill>
              <a:schemeClr val="accent4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8">
            <a:extLst>
              <a:ext uri="{FF2B5EF4-FFF2-40B4-BE49-F238E27FC236}">
                <a16:creationId xmlns:a16="http://schemas.microsoft.com/office/drawing/2014/main" id="{2F419550-ECD2-34AA-B555-C28C069C6BCB}"/>
              </a:ext>
            </a:extLst>
          </p:cNvPr>
          <p:cNvSpPr>
            <a:spLocks/>
          </p:cNvSpPr>
          <p:nvPr/>
        </p:nvSpPr>
        <p:spPr bwMode="auto">
          <a:xfrm>
            <a:off x="8478994" y="3022191"/>
            <a:ext cx="902054" cy="398107"/>
          </a:xfrm>
          <a:custGeom>
            <a:avLst/>
            <a:gdLst>
              <a:gd name="T0" fmla="*/ 0 w 438"/>
              <a:gd name="T1" fmla="*/ 194 h 194"/>
              <a:gd name="T2" fmla="*/ 438 w 438"/>
              <a:gd name="T3" fmla="*/ 194 h 19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438" h="194">
                <a:moveTo>
                  <a:pt x="0" y="194"/>
                </a:moveTo>
                <a:cubicBezTo>
                  <a:pt x="0" y="194"/>
                  <a:pt x="222" y="0"/>
                  <a:pt x="438" y="194"/>
                </a:cubicBezTo>
              </a:path>
            </a:pathLst>
          </a:custGeom>
          <a:noFill/>
          <a:ln w="25400" cap="flat">
            <a:solidFill>
              <a:schemeClr val="accent5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18">
            <a:extLst>
              <a:ext uri="{FF2B5EF4-FFF2-40B4-BE49-F238E27FC236}">
                <a16:creationId xmlns:a16="http://schemas.microsoft.com/office/drawing/2014/main" id="{5F7654F4-2ED7-54F0-2700-D0ECF7EFF94B}"/>
              </a:ext>
            </a:extLst>
          </p:cNvPr>
          <p:cNvSpPr>
            <a:spLocks/>
          </p:cNvSpPr>
          <p:nvPr/>
        </p:nvSpPr>
        <p:spPr bwMode="auto">
          <a:xfrm rot="21035063">
            <a:off x="8151708" y="4636335"/>
            <a:ext cx="902054" cy="398107"/>
          </a:xfrm>
          <a:custGeom>
            <a:avLst/>
            <a:gdLst>
              <a:gd name="T0" fmla="*/ 0 w 438"/>
              <a:gd name="T1" fmla="*/ 194 h 194"/>
              <a:gd name="T2" fmla="*/ 438 w 438"/>
              <a:gd name="T3" fmla="*/ 194 h 19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438" h="194">
                <a:moveTo>
                  <a:pt x="0" y="194"/>
                </a:moveTo>
                <a:cubicBezTo>
                  <a:pt x="0" y="194"/>
                  <a:pt x="222" y="0"/>
                  <a:pt x="438" y="194"/>
                </a:cubicBezTo>
              </a:path>
            </a:pathLst>
          </a:custGeom>
          <a:noFill/>
          <a:ln w="25400" cap="flat">
            <a:solidFill>
              <a:schemeClr val="accent6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E47DBA32-F14A-DCC0-DDA6-3B344683C3E6}"/>
              </a:ext>
            </a:extLst>
          </p:cNvPr>
          <p:cNvSpPr>
            <a:spLocks/>
          </p:cNvSpPr>
          <p:nvPr/>
        </p:nvSpPr>
        <p:spPr bwMode="auto">
          <a:xfrm>
            <a:off x="4859076" y="3902793"/>
            <a:ext cx="2930372" cy="2955206"/>
          </a:xfrm>
          <a:custGeom>
            <a:avLst/>
            <a:gdLst>
              <a:gd name="T0" fmla="*/ 318 w 1900"/>
              <a:gd name="T1" fmla="*/ 1924 h 1924"/>
              <a:gd name="T2" fmla="*/ 519 w 1900"/>
              <a:gd name="T3" fmla="*/ 1788 h 1924"/>
              <a:gd name="T4" fmla="*/ 724 w 1900"/>
              <a:gd name="T5" fmla="*/ 1420 h 1924"/>
              <a:gd name="T6" fmla="*/ 729 w 1900"/>
              <a:gd name="T7" fmla="*/ 1287 h 1924"/>
              <a:gd name="T8" fmla="*/ 484 w 1900"/>
              <a:gd name="T9" fmla="*/ 760 h 1924"/>
              <a:gd name="T10" fmla="*/ 0 w 1900"/>
              <a:gd name="T11" fmla="*/ 576 h 1924"/>
              <a:gd name="T12" fmla="*/ 26 w 1900"/>
              <a:gd name="T13" fmla="*/ 447 h 1924"/>
              <a:gd name="T14" fmla="*/ 492 w 1900"/>
              <a:gd name="T15" fmla="*/ 624 h 1924"/>
              <a:gd name="T16" fmla="*/ 406 w 1900"/>
              <a:gd name="T17" fmla="*/ 0 h 1924"/>
              <a:gd name="T18" fmla="*/ 534 w 1900"/>
              <a:gd name="T19" fmla="*/ 0 h 1924"/>
              <a:gd name="T20" fmla="*/ 595 w 1900"/>
              <a:gd name="T21" fmla="*/ 417 h 1924"/>
              <a:gd name="T22" fmla="*/ 632 w 1900"/>
              <a:gd name="T23" fmla="*/ 571 h 1924"/>
              <a:gd name="T24" fmla="*/ 678 w 1900"/>
              <a:gd name="T25" fmla="*/ 665 h 1924"/>
              <a:gd name="T26" fmla="*/ 678 w 1900"/>
              <a:gd name="T27" fmla="*/ 665 h 1924"/>
              <a:gd name="T28" fmla="*/ 801 w 1900"/>
              <a:gd name="T29" fmla="*/ 708 h 1924"/>
              <a:gd name="T30" fmla="*/ 801 w 1900"/>
              <a:gd name="T31" fmla="*/ 708 h 1924"/>
              <a:gd name="T32" fmla="*/ 856 w 1900"/>
              <a:gd name="T33" fmla="*/ 639 h 1924"/>
              <a:gd name="T34" fmla="*/ 894 w 1900"/>
              <a:gd name="T35" fmla="*/ 150 h 1924"/>
              <a:gd name="T36" fmla="*/ 1016 w 1900"/>
              <a:gd name="T37" fmla="*/ 146 h 1924"/>
              <a:gd name="T38" fmla="*/ 1023 w 1900"/>
              <a:gd name="T39" fmla="*/ 307 h 1924"/>
              <a:gd name="T40" fmla="*/ 1078 w 1900"/>
              <a:gd name="T41" fmla="*/ 343 h 1924"/>
              <a:gd name="T42" fmla="*/ 1093 w 1900"/>
              <a:gd name="T43" fmla="*/ 330 h 1924"/>
              <a:gd name="T44" fmla="*/ 1374 w 1900"/>
              <a:gd name="T45" fmla="*/ 44 h 1924"/>
              <a:gd name="T46" fmla="*/ 1482 w 1900"/>
              <a:gd name="T47" fmla="*/ 98 h 1924"/>
              <a:gd name="T48" fmla="*/ 1140 w 1900"/>
              <a:gd name="T49" fmla="*/ 451 h 1924"/>
              <a:gd name="T50" fmla="*/ 1077 w 1900"/>
              <a:gd name="T51" fmla="*/ 582 h 1924"/>
              <a:gd name="T52" fmla="*/ 1077 w 1900"/>
              <a:gd name="T53" fmla="*/ 582 h 1924"/>
              <a:gd name="T54" fmla="*/ 1077 w 1900"/>
              <a:gd name="T55" fmla="*/ 633 h 1924"/>
              <a:gd name="T56" fmla="*/ 1077 w 1900"/>
              <a:gd name="T57" fmla="*/ 652 h 1924"/>
              <a:gd name="T58" fmla="*/ 1138 w 1900"/>
              <a:gd name="T59" fmla="*/ 738 h 1924"/>
              <a:gd name="T60" fmla="*/ 1174 w 1900"/>
              <a:gd name="T61" fmla="*/ 726 h 1924"/>
              <a:gd name="T62" fmla="*/ 1174 w 1900"/>
              <a:gd name="T63" fmla="*/ 726 h 1924"/>
              <a:gd name="T64" fmla="*/ 1808 w 1900"/>
              <a:gd name="T65" fmla="*/ 202 h 1924"/>
              <a:gd name="T66" fmla="*/ 1828 w 1900"/>
              <a:gd name="T67" fmla="*/ 182 h 1924"/>
              <a:gd name="T68" fmla="*/ 1898 w 1900"/>
              <a:gd name="T69" fmla="*/ 312 h 1924"/>
              <a:gd name="T70" fmla="*/ 1534 w 1900"/>
              <a:gd name="T71" fmla="*/ 639 h 1924"/>
              <a:gd name="T72" fmla="*/ 1344 w 1900"/>
              <a:gd name="T73" fmla="*/ 822 h 1924"/>
              <a:gd name="T74" fmla="*/ 1344 w 1900"/>
              <a:gd name="T75" fmla="*/ 822 h 1924"/>
              <a:gd name="T76" fmla="*/ 1736 w 1900"/>
              <a:gd name="T77" fmla="*/ 740 h 1924"/>
              <a:gd name="T78" fmla="*/ 1728 w 1900"/>
              <a:gd name="T79" fmla="*/ 838 h 1924"/>
              <a:gd name="T80" fmla="*/ 1424 w 1900"/>
              <a:gd name="T81" fmla="*/ 939 h 1924"/>
              <a:gd name="T82" fmla="*/ 1213 w 1900"/>
              <a:gd name="T83" fmla="*/ 1223 h 1924"/>
              <a:gd name="T84" fmla="*/ 1213 w 1900"/>
              <a:gd name="T85" fmla="*/ 1350 h 1924"/>
              <a:gd name="T86" fmla="*/ 1437 w 1900"/>
              <a:gd name="T87" fmla="*/ 1794 h 1924"/>
              <a:gd name="T88" fmla="*/ 1612 w 1900"/>
              <a:gd name="T89" fmla="*/ 1924 h 1924"/>
              <a:gd name="T90" fmla="*/ 318 w 1900"/>
              <a:gd name="T91" fmla="*/ 1924 h 19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900" h="1924">
                <a:moveTo>
                  <a:pt x="318" y="1924"/>
                </a:moveTo>
                <a:cubicBezTo>
                  <a:pt x="519" y="1788"/>
                  <a:pt x="519" y="1788"/>
                  <a:pt x="519" y="1788"/>
                </a:cubicBezTo>
                <a:cubicBezTo>
                  <a:pt x="642" y="1705"/>
                  <a:pt x="718" y="1569"/>
                  <a:pt x="724" y="1420"/>
                </a:cubicBezTo>
                <a:cubicBezTo>
                  <a:pt x="729" y="1287"/>
                  <a:pt x="729" y="1287"/>
                  <a:pt x="729" y="1287"/>
                </a:cubicBezTo>
                <a:cubicBezTo>
                  <a:pt x="743" y="962"/>
                  <a:pt x="642" y="807"/>
                  <a:pt x="484" y="760"/>
                </a:cubicBezTo>
                <a:cubicBezTo>
                  <a:pt x="0" y="576"/>
                  <a:pt x="0" y="576"/>
                  <a:pt x="0" y="576"/>
                </a:cubicBezTo>
                <a:cubicBezTo>
                  <a:pt x="26" y="447"/>
                  <a:pt x="26" y="447"/>
                  <a:pt x="26" y="447"/>
                </a:cubicBezTo>
                <a:cubicBezTo>
                  <a:pt x="492" y="624"/>
                  <a:pt x="492" y="624"/>
                  <a:pt x="492" y="624"/>
                </a:cubicBezTo>
                <a:cubicBezTo>
                  <a:pt x="406" y="0"/>
                  <a:pt x="406" y="0"/>
                  <a:pt x="406" y="0"/>
                </a:cubicBezTo>
                <a:cubicBezTo>
                  <a:pt x="534" y="0"/>
                  <a:pt x="534" y="0"/>
                  <a:pt x="534" y="0"/>
                </a:cubicBezTo>
                <a:cubicBezTo>
                  <a:pt x="595" y="417"/>
                  <a:pt x="595" y="417"/>
                  <a:pt x="595" y="417"/>
                </a:cubicBezTo>
                <a:cubicBezTo>
                  <a:pt x="603" y="470"/>
                  <a:pt x="615" y="521"/>
                  <a:pt x="632" y="571"/>
                </a:cubicBezTo>
                <a:cubicBezTo>
                  <a:pt x="645" y="608"/>
                  <a:pt x="661" y="644"/>
                  <a:pt x="678" y="665"/>
                </a:cubicBezTo>
                <a:cubicBezTo>
                  <a:pt x="678" y="665"/>
                  <a:pt x="678" y="665"/>
                  <a:pt x="678" y="665"/>
                </a:cubicBezTo>
                <a:cubicBezTo>
                  <a:pt x="709" y="692"/>
                  <a:pt x="784" y="713"/>
                  <a:pt x="801" y="708"/>
                </a:cubicBezTo>
                <a:cubicBezTo>
                  <a:pt x="801" y="708"/>
                  <a:pt x="801" y="708"/>
                  <a:pt x="801" y="708"/>
                </a:cubicBezTo>
                <a:cubicBezTo>
                  <a:pt x="832" y="698"/>
                  <a:pt x="854" y="671"/>
                  <a:pt x="856" y="639"/>
                </a:cubicBezTo>
                <a:cubicBezTo>
                  <a:pt x="894" y="150"/>
                  <a:pt x="894" y="150"/>
                  <a:pt x="894" y="150"/>
                </a:cubicBezTo>
                <a:cubicBezTo>
                  <a:pt x="1016" y="146"/>
                  <a:pt x="1016" y="146"/>
                  <a:pt x="1016" y="146"/>
                </a:cubicBezTo>
                <a:cubicBezTo>
                  <a:pt x="1016" y="146"/>
                  <a:pt x="1019" y="249"/>
                  <a:pt x="1023" y="307"/>
                </a:cubicBezTo>
                <a:cubicBezTo>
                  <a:pt x="1028" y="363"/>
                  <a:pt x="1043" y="372"/>
                  <a:pt x="1078" y="343"/>
                </a:cubicBezTo>
                <a:cubicBezTo>
                  <a:pt x="1078" y="343"/>
                  <a:pt x="1089" y="334"/>
                  <a:pt x="1093" y="330"/>
                </a:cubicBezTo>
                <a:cubicBezTo>
                  <a:pt x="1374" y="44"/>
                  <a:pt x="1374" y="44"/>
                  <a:pt x="1374" y="44"/>
                </a:cubicBezTo>
                <a:cubicBezTo>
                  <a:pt x="1482" y="98"/>
                  <a:pt x="1482" y="98"/>
                  <a:pt x="1482" y="98"/>
                </a:cubicBezTo>
                <a:cubicBezTo>
                  <a:pt x="1140" y="451"/>
                  <a:pt x="1140" y="451"/>
                  <a:pt x="1140" y="451"/>
                </a:cubicBezTo>
                <a:cubicBezTo>
                  <a:pt x="1105" y="487"/>
                  <a:pt x="1083" y="533"/>
                  <a:pt x="1077" y="582"/>
                </a:cubicBezTo>
                <a:cubicBezTo>
                  <a:pt x="1077" y="582"/>
                  <a:pt x="1077" y="582"/>
                  <a:pt x="1077" y="582"/>
                </a:cubicBezTo>
                <a:cubicBezTo>
                  <a:pt x="1075" y="599"/>
                  <a:pt x="1077" y="616"/>
                  <a:pt x="1077" y="633"/>
                </a:cubicBezTo>
                <a:cubicBezTo>
                  <a:pt x="1077" y="652"/>
                  <a:pt x="1077" y="652"/>
                  <a:pt x="1077" y="652"/>
                </a:cubicBezTo>
                <a:cubicBezTo>
                  <a:pt x="1078" y="725"/>
                  <a:pt x="1111" y="740"/>
                  <a:pt x="1138" y="738"/>
                </a:cubicBezTo>
                <a:cubicBezTo>
                  <a:pt x="1151" y="738"/>
                  <a:pt x="1164" y="733"/>
                  <a:pt x="1174" y="726"/>
                </a:cubicBezTo>
                <a:cubicBezTo>
                  <a:pt x="1174" y="726"/>
                  <a:pt x="1174" y="726"/>
                  <a:pt x="1174" y="726"/>
                </a:cubicBezTo>
                <a:cubicBezTo>
                  <a:pt x="1398" y="567"/>
                  <a:pt x="1610" y="392"/>
                  <a:pt x="1808" y="202"/>
                </a:cubicBezTo>
                <a:cubicBezTo>
                  <a:pt x="1828" y="182"/>
                  <a:pt x="1828" y="182"/>
                  <a:pt x="1828" y="182"/>
                </a:cubicBezTo>
                <a:cubicBezTo>
                  <a:pt x="1828" y="182"/>
                  <a:pt x="1900" y="306"/>
                  <a:pt x="1898" y="312"/>
                </a:cubicBezTo>
                <a:cubicBezTo>
                  <a:pt x="1897" y="316"/>
                  <a:pt x="1670" y="518"/>
                  <a:pt x="1534" y="639"/>
                </a:cubicBezTo>
                <a:cubicBezTo>
                  <a:pt x="1468" y="697"/>
                  <a:pt x="1405" y="758"/>
                  <a:pt x="1344" y="822"/>
                </a:cubicBezTo>
                <a:cubicBezTo>
                  <a:pt x="1344" y="822"/>
                  <a:pt x="1344" y="822"/>
                  <a:pt x="1344" y="822"/>
                </a:cubicBezTo>
                <a:cubicBezTo>
                  <a:pt x="1736" y="740"/>
                  <a:pt x="1736" y="740"/>
                  <a:pt x="1736" y="740"/>
                </a:cubicBezTo>
                <a:cubicBezTo>
                  <a:pt x="1728" y="838"/>
                  <a:pt x="1728" y="838"/>
                  <a:pt x="1728" y="838"/>
                </a:cubicBezTo>
                <a:cubicBezTo>
                  <a:pt x="1424" y="939"/>
                  <a:pt x="1424" y="939"/>
                  <a:pt x="1424" y="939"/>
                </a:cubicBezTo>
                <a:cubicBezTo>
                  <a:pt x="1292" y="978"/>
                  <a:pt x="1212" y="1085"/>
                  <a:pt x="1213" y="1223"/>
                </a:cubicBezTo>
                <a:cubicBezTo>
                  <a:pt x="1213" y="1350"/>
                  <a:pt x="1213" y="1350"/>
                  <a:pt x="1213" y="1350"/>
                </a:cubicBezTo>
                <a:cubicBezTo>
                  <a:pt x="1214" y="1525"/>
                  <a:pt x="1297" y="1689"/>
                  <a:pt x="1437" y="1794"/>
                </a:cubicBezTo>
                <a:cubicBezTo>
                  <a:pt x="1612" y="1924"/>
                  <a:pt x="1612" y="1924"/>
                  <a:pt x="1612" y="1924"/>
                </a:cubicBezTo>
                <a:lnTo>
                  <a:pt x="318" y="1924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3175" cmpd="sng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" name="Oval 6">
            <a:extLst>
              <a:ext uri="{FF2B5EF4-FFF2-40B4-BE49-F238E27FC236}">
                <a16:creationId xmlns:a16="http://schemas.microsoft.com/office/drawing/2014/main" id="{94E39EF1-0A27-AB50-7556-59809D0813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4486" y="1841600"/>
            <a:ext cx="2220839" cy="2211970"/>
          </a:xfrm>
          <a:prstGeom prst="ellipse">
            <a:avLst/>
          </a:prstGeom>
          <a:solidFill>
            <a:schemeClr val="accent2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Oval 5">
            <a:extLst>
              <a:ext uri="{FF2B5EF4-FFF2-40B4-BE49-F238E27FC236}">
                <a16:creationId xmlns:a16="http://schemas.microsoft.com/office/drawing/2014/main" id="{7F4FBCD5-6555-4266-16DE-30C89994BE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4577" y="3663326"/>
            <a:ext cx="1821726" cy="1816406"/>
          </a:xfrm>
          <a:prstGeom prst="ellipse">
            <a:avLst/>
          </a:prstGeom>
          <a:solidFill>
            <a:schemeClr val="accent1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Oval 8">
            <a:extLst>
              <a:ext uri="{FF2B5EF4-FFF2-40B4-BE49-F238E27FC236}">
                <a16:creationId xmlns:a16="http://schemas.microsoft.com/office/drawing/2014/main" id="{B5FF022A-FAB8-33ED-EFB6-1D4FBC9ECC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3572" y="2505013"/>
            <a:ext cx="1685140" cy="1678046"/>
          </a:xfrm>
          <a:prstGeom prst="ellipse">
            <a:avLst/>
          </a:prstGeom>
          <a:solidFill>
            <a:schemeClr val="accent4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Oval 10">
            <a:extLst>
              <a:ext uri="{FF2B5EF4-FFF2-40B4-BE49-F238E27FC236}">
                <a16:creationId xmlns:a16="http://schemas.microsoft.com/office/drawing/2014/main" id="{B981E122-A022-EAED-A6C6-6DF74A096A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3550" y="4587493"/>
            <a:ext cx="1062526" cy="1058978"/>
          </a:xfrm>
          <a:prstGeom prst="ellipse">
            <a:avLst/>
          </a:prstGeom>
          <a:solidFill>
            <a:schemeClr val="accent6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Oval 7">
            <a:extLst>
              <a:ext uri="{FF2B5EF4-FFF2-40B4-BE49-F238E27FC236}">
                <a16:creationId xmlns:a16="http://schemas.microsoft.com/office/drawing/2014/main" id="{CB4FB6F0-5D04-B20A-8F24-E0B2A74ED3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5637" y="3294369"/>
            <a:ext cx="915298" cy="913524"/>
          </a:xfrm>
          <a:prstGeom prst="ellipse">
            <a:avLst/>
          </a:prstGeom>
          <a:solidFill>
            <a:schemeClr val="accent3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Oval 9">
            <a:extLst>
              <a:ext uri="{FF2B5EF4-FFF2-40B4-BE49-F238E27FC236}">
                <a16:creationId xmlns:a16="http://schemas.microsoft.com/office/drawing/2014/main" id="{09180E83-4D03-09C9-BCED-C3B74A9390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7980" y="3259980"/>
            <a:ext cx="1424388" cy="1419066"/>
          </a:xfrm>
          <a:prstGeom prst="ellipse">
            <a:avLst/>
          </a:prstGeom>
          <a:solidFill>
            <a:schemeClr val="accent5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434AF6-949B-EC29-4E72-E32ACC23FEB4}"/>
              </a:ext>
            </a:extLst>
          </p:cNvPr>
          <p:cNvSpPr txBox="1">
            <a:spLocks/>
          </p:cNvSpPr>
          <p:nvPr/>
        </p:nvSpPr>
        <p:spPr>
          <a:xfrm>
            <a:off x="702561" y="4193801"/>
            <a:ext cx="1898732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1"/>
                </a:solidFill>
                <a:latin typeface="+mn-lt"/>
              </a:rPr>
              <a:t>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B2D0DD8-846A-D60A-C531-2D9A1F0A96A2}"/>
              </a:ext>
            </a:extLst>
          </p:cNvPr>
          <p:cNvSpPr txBox="1">
            <a:spLocks/>
          </p:cNvSpPr>
          <p:nvPr/>
        </p:nvSpPr>
        <p:spPr>
          <a:xfrm>
            <a:off x="1804787" y="2148929"/>
            <a:ext cx="1967456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2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2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2"/>
                </a:solidFill>
                <a:latin typeface="+mn-lt"/>
              </a:rPr>
              <a:t>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2D05D86-8E2C-AD1D-9352-4A37D5C253BF}"/>
              </a:ext>
            </a:extLst>
          </p:cNvPr>
          <p:cNvSpPr txBox="1">
            <a:spLocks/>
          </p:cNvSpPr>
          <p:nvPr/>
        </p:nvSpPr>
        <p:spPr>
          <a:xfrm>
            <a:off x="8037847" y="2003526"/>
            <a:ext cx="1999037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4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4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4"/>
                </a:solidFill>
                <a:latin typeface="+mn-lt"/>
              </a:rPr>
              <a:t>TITL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3FAC1319-EA85-6712-6EC2-8432F6F5C486}"/>
              </a:ext>
            </a:extLst>
          </p:cNvPr>
          <p:cNvSpPr txBox="1">
            <a:spLocks/>
          </p:cNvSpPr>
          <p:nvPr/>
        </p:nvSpPr>
        <p:spPr>
          <a:xfrm>
            <a:off x="9152900" y="4837791"/>
            <a:ext cx="1937649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6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6"/>
                </a:solidFill>
                <a:latin typeface="+mn-lt"/>
              </a:rPr>
              <a:t>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F1AD556-1B4D-0100-DECA-18757AE4ABD6}"/>
              </a:ext>
            </a:extLst>
          </p:cNvPr>
          <p:cNvSpPr txBox="1">
            <a:spLocks/>
          </p:cNvSpPr>
          <p:nvPr/>
        </p:nvSpPr>
        <p:spPr>
          <a:xfrm>
            <a:off x="9463946" y="3232244"/>
            <a:ext cx="1953353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5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5"/>
                </a:solidFill>
                <a:latin typeface="+mn-lt"/>
              </a:rPr>
              <a:t>TITLE</a:t>
            </a:r>
          </a:p>
        </p:txBody>
      </p:sp>
      <p:sp>
        <p:nvSpPr>
          <p:cNvPr id="21" name="Inhaltsplatzhalter 4">
            <a:extLst>
              <a:ext uri="{FF2B5EF4-FFF2-40B4-BE49-F238E27FC236}">
                <a16:creationId xmlns:a16="http://schemas.microsoft.com/office/drawing/2014/main" id="{FBE7252C-D99B-DC08-FE3C-FCDB0677A900}"/>
              </a:ext>
            </a:extLst>
          </p:cNvPr>
          <p:cNvSpPr txBox="1">
            <a:spLocks/>
          </p:cNvSpPr>
          <p:nvPr/>
        </p:nvSpPr>
        <p:spPr>
          <a:xfrm>
            <a:off x="8326829" y="2333166"/>
            <a:ext cx="220071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2" name="Inhaltsplatzhalter 4">
            <a:extLst>
              <a:ext uri="{FF2B5EF4-FFF2-40B4-BE49-F238E27FC236}">
                <a16:creationId xmlns:a16="http://schemas.microsoft.com/office/drawing/2014/main" id="{15DE58EF-CAC1-DF51-8E8A-67462A5E3587}"/>
              </a:ext>
            </a:extLst>
          </p:cNvPr>
          <p:cNvSpPr txBox="1">
            <a:spLocks/>
          </p:cNvSpPr>
          <p:nvPr/>
        </p:nvSpPr>
        <p:spPr>
          <a:xfrm>
            <a:off x="9691959" y="3596748"/>
            <a:ext cx="220071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3" name="Inhaltsplatzhalter 4">
            <a:extLst>
              <a:ext uri="{FF2B5EF4-FFF2-40B4-BE49-F238E27FC236}">
                <a16:creationId xmlns:a16="http://schemas.microsoft.com/office/drawing/2014/main" id="{06C38668-33C4-F414-2EBF-CC5E218C9F8D}"/>
              </a:ext>
            </a:extLst>
          </p:cNvPr>
          <p:cNvSpPr txBox="1">
            <a:spLocks/>
          </p:cNvSpPr>
          <p:nvPr/>
        </p:nvSpPr>
        <p:spPr>
          <a:xfrm>
            <a:off x="9427185" y="5147866"/>
            <a:ext cx="220071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4" name="Inhaltsplatzhalter 4">
            <a:extLst>
              <a:ext uri="{FF2B5EF4-FFF2-40B4-BE49-F238E27FC236}">
                <a16:creationId xmlns:a16="http://schemas.microsoft.com/office/drawing/2014/main" id="{3E0C4CED-5084-123E-EE82-0973D36EA0E8}"/>
              </a:ext>
            </a:extLst>
          </p:cNvPr>
          <p:cNvSpPr txBox="1">
            <a:spLocks/>
          </p:cNvSpPr>
          <p:nvPr/>
        </p:nvSpPr>
        <p:spPr>
          <a:xfrm>
            <a:off x="435326" y="4513336"/>
            <a:ext cx="1898732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5" name="Inhaltsplatzhalter 4">
            <a:extLst>
              <a:ext uri="{FF2B5EF4-FFF2-40B4-BE49-F238E27FC236}">
                <a16:creationId xmlns:a16="http://schemas.microsoft.com/office/drawing/2014/main" id="{A726B15C-01D1-CAFE-71FE-03BA0F4C519E}"/>
              </a:ext>
            </a:extLst>
          </p:cNvPr>
          <p:cNvSpPr txBox="1">
            <a:spLocks/>
          </p:cNvSpPr>
          <p:nvPr/>
        </p:nvSpPr>
        <p:spPr>
          <a:xfrm>
            <a:off x="1277471" y="2447416"/>
            <a:ext cx="2244176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E980541-C21D-E558-7B0A-2F8F4EF52B8A}"/>
              </a:ext>
            </a:extLst>
          </p:cNvPr>
          <p:cNvGrpSpPr/>
          <p:nvPr/>
        </p:nvGrpSpPr>
        <p:grpSpPr>
          <a:xfrm>
            <a:off x="7005588" y="3074695"/>
            <a:ext cx="651514" cy="43934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6E1F2404-F45E-CD52-4860-B2C528ECFB3A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A0577C59-D871-1356-6618-556F7A1337C5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026AA222-5E83-E815-2A50-D15FC036A237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05662A6-5531-4DF7-2E67-117C90BB1EB1}"/>
              </a:ext>
            </a:extLst>
          </p:cNvPr>
          <p:cNvGrpSpPr>
            <a:grpSpLocks noChangeAspect="1"/>
          </p:cNvGrpSpPr>
          <p:nvPr/>
        </p:nvGrpSpPr>
        <p:grpSpPr>
          <a:xfrm>
            <a:off x="5320490" y="2605387"/>
            <a:ext cx="428830" cy="684396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B511BA4-F3AF-07AF-01EF-2CBA9AD72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E6DE620D-2A02-FE7F-B982-ECAA36107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33" name="Freeform 23">
            <a:extLst>
              <a:ext uri="{FF2B5EF4-FFF2-40B4-BE49-F238E27FC236}">
                <a16:creationId xmlns:a16="http://schemas.microsoft.com/office/drawing/2014/main" id="{48FB98A4-9572-C892-375F-C016CBEC352C}"/>
              </a:ext>
            </a:extLst>
          </p:cNvPr>
          <p:cNvSpPr>
            <a:spLocks noEditPoints="1"/>
          </p:cNvSpPr>
          <p:nvPr/>
        </p:nvSpPr>
        <p:spPr bwMode="auto">
          <a:xfrm>
            <a:off x="3806220" y="4315399"/>
            <a:ext cx="578440" cy="51226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17BF01C-8030-FF63-D0EB-115D56BD79F4}"/>
              </a:ext>
            </a:extLst>
          </p:cNvPr>
          <p:cNvGrpSpPr>
            <a:grpSpLocks noChangeAspect="1"/>
          </p:cNvGrpSpPr>
          <p:nvPr/>
        </p:nvGrpSpPr>
        <p:grpSpPr>
          <a:xfrm>
            <a:off x="8125220" y="3769252"/>
            <a:ext cx="434548" cy="413626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EF964AB5-A6E7-D343-2BF1-FDC23E5C61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3C9DC7AA-65D5-52BA-74B9-B2ED01C3E5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ED7F87D1-491E-C0E7-CF0C-8559F40A4F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F35CBE46-67B3-5364-5448-D9F7D4530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EC74699A-5655-D42F-5F40-9007C0E9E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172577B9-9C93-B5C5-FDF3-ECB135EC0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08BE115-943D-9EA6-EA13-98A3434B11CF}"/>
              </a:ext>
            </a:extLst>
          </p:cNvPr>
          <p:cNvGrpSpPr/>
          <p:nvPr/>
        </p:nvGrpSpPr>
        <p:grpSpPr>
          <a:xfrm>
            <a:off x="7671355" y="4959551"/>
            <a:ext cx="651514" cy="43934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D30544D8-EF1B-8336-4695-3D3A3401BC2B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3" name="Freeform 18">
              <a:extLst>
                <a:ext uri="{FF2B5EF4-FFF2-40B4-BE49-F238E27FC236}">
                  <a16:creationId xmlns:a16="http://schemas.microsoft.com/office/drawing/2014/main" id="{22FC93BA-37D1-993B-B2EF-40DE081BD5C4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4" name="Freeform 19">
              <a:extLst>
                <a:ext uri="{FF2B5EF4-FFF2-40B4-BE49-F238E27FC236}">
                  <a16:creationId xmlns:a16="http://schemas.microsoft.com/office/drawing/2014/main" id="{BE807F9D-28F4-F49B-C684-2246F959BFED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CF79170-A19A-922E-F421-A28EEFA2A409}"/>
              </a:ext>
            </a:extLst>
          </p:cNvPr>
          <p:cNvGrpSpPr>
            <a:grpSpLocks noChangeAspect="1"/>
          </p:cNvGrpSpPr>
          <p:nvPr/>
        </p:nvGrpSpPr>
        <p:grpSpPr>
          <a:xfrm>
            <a:off x="6146012" y="3551923"/>
            <a:ext cx="434548" cy="413626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46" name="Freeform 26">
              <a:extLst>
                <a:ext uri="{FF2B5EF4-FFF2-40B4-BE49-F238E27FC236}">
                  <a16:creationId xmlns:a16="http://schemas.microsoft.com/office/drawing/2014/main" id="{92C465A2-51B5-D807-D955-8B7DC141AB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7" name="Freeform 27">
              <a:extLst>
                <a:ext uri="{FF2B5EF4-FFF2-40B4-BE49-F238E27FC236}">
                  <a16:creationId xmlns:a16="http://schemas.microsoft.com/office/drawing/2014/main" id="{CC233183-2A20-D2CB-CA63-D5CC2CE27F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8" name="Freeform 28">
              <a:extLst>
                <a:ext uri="{FF2B5EF4-FFF2-40B4-BE49-F238E27FC236}">
                  <a16:creationId xmlns:a16="http://schemas.microsoft.com/office/drawing/2014/main" id="{2A22A220-FBB7-A3C8-A097-6AD66A6E86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9" name="Freeform 29">
              <a:extLst>
                <a:ext uri="{FF2B5EF4-FFF2-40B4-BE49-F238E27FC236}">
                  <a16:creationId xmlns:a16="http://schemas.microsoft.com/office/drawing/2014/main" id="{CDDECFCE-9439-07E8-6457-1B723D908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50" name="Freeform 30">
              <a:extLst>
                <a:ext uri="{FF2B5EF4-FFF2-40B4-BE49-F238E27FC236}">
                  <a16:creationId xmlns:a16="http://schemas.microsoft.com/office/drawing/2014/main" id="{A70105E2-DBC0-E5EF-9865-8FD572142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51" name="Freeform 31">
              <a:extLst>
                <a:ext uri="{FF2B5EF4-FFF2-40B4-BE49-F238E27FC236}">
                  <a16:creationId xmlns:a16="http://schemas.microsoft.com/office/drawing/2014/main" id="{3D6B943F-FC4E-AC2E-8C78-AD50D9481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52" name="Freeform 16">
            <a:extLst>
              <a:ext uri="{FF2B5EF4-FFF2-40B4-BE49-F238E27FC236}">
                <a16:creationId xmlns:a16="http://schemas.microsoft.com/office/drawing/2014/main" id="{03BEABA0-F71A-C373-28B2-99722D001FD3}"/>
              </a:ext>
            </a:extLst>
          </p:cNvPr>
          <p:cNvSpPr>
            <a:spLocks/>
          </p:cNvSpPr>
          <p:nvPr/>
        </p:nvSpPr>
        <p:spPr bwMode="auto">
          <a:xfrm>
            <a:off x="2605601" y="3696743"/>
            <a:ext cx="1123358" cy="674736"/>
          </a:xfrm>
          <a:custGeom>
            <a:avLst/>
            <a:gdLst>
              <a:gd name="T0" fmla="*/ 538 w 546"/>
              <a:gd name="T1" fmla="*/ 329 h 329"/>
              <a:gd name="T2" fmla="*/ 0 w 546"/>
              <a:gd name="T3" fmla="*/ 329 h 329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546" h="329">
                <a:moveTo>
                  <a:pt x="538" y="329"/>
                </a:moveTo>
                <a:cubicBezTo>
                  <a:pt x="546" y="319"/>
                  <a:pt x="269" y="0"/>
                  <a:pt x="0" y="329"/>
                </a:cubicBezTo>
              </a:path>
            </a:pathLst>
          </a:custGeom>
          <a:noFill/>
          <a:ln w="25400" cap="flat">
            <a:solidFill>
              <a:schemeClr val="accent1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F7CCEF23-FEC6-7EB1-37D7-EA2E0ABD0A49}"/>
              </a:ext>
            </a:extLst>
          </p:cNvPr>
          <p:cNvSpPr txBox="1">
            <a:spLocks/>
          </p:cNvSpPr>
          <p:nvPr/>
        </p:nvSpPr>
        <p:spPr>
          <a:xfrm>
            <a:off x="5980319" y="1123338"/>
            <a:ext cx="2038036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3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3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3"/>
                </a:solidFill>
                <a:latin typeface="+mn-lt"/>
              </a:rPr>
              <a:t>TITLE</a:t>
            </a:r>
          </a:p>
        </p:txBody>
      </p:sp>
      <p:sp>
        <p:nvSpPr>
          <p:cNvPr id="58" name="Inhaltsplatzhalter 4">
            <a:extLst>
              <a:ext uri="{FF2B5EF4-FFF2-40B4-BE49-F238E27FC236}">
                <a16:creationId xmlns:a16="http://schemas.microsoft.com/office/drawing/2014/main" id="{5DDF0224-F53A-6ADC-BF1B-48513C6EEA14}"/>
              </a:ext>
            </a:extLst>
          </p:cNvPr>
          <p:cNvSpPr txBox="1">
            <a:spLocks/>
          </p:cNvSpPr>
          <p:nvPr/>
        </p:nvSpPr>
        <p:spPr>
          <a:xfrm>
            <a:off x="6360740" y="1430171"/>
            <a:ext cx="220071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</p:spTree>
    <p:extLst>
      <p:ext uri="{BB962C8B-B14F-4D97-AF65-F5344CB8AC3E}">
        <p14:creationId xmlns:p14="http://schemas.microsoft.com/office/powerpoint/2010/main" val="38604455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1</TotalTime>
  <Words>147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Tree infographic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40</cp:revision>
  <dcterms:created xsi:type="dcterms:W3CDTF">2021-03-31T02:49:57Z</dcterms:created>
  <dcterms:modified xsi:type="dcterms:W3CDTF">2025-10-15T08:25:17Z</dcterms:modified>
  <cp:category/>
</cp:coreProperties>
</file>